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9906000" cy="6858000" type="A4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60" d="100"/>
          <a:sy n="60" d="100"/>
        </p:scale>
        <p:origin x="-648" y="-240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01-07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34824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01-07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0532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01-07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3208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01-07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5657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01-07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37053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01-07-201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53683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01-07-201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695968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01-07-201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920360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01-07-201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636634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01-07-201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277965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01-07-201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424066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15B8FD-6BDF-478D-B7CF-9865D76730F8}" type="datetimeFigureOut">
              <a:rPr lang="da-DK" smtClean="0"/>
              <a:t>01-07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6031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5515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9" name="Group 38"/>
          <p:cNvGrpSpPr/>
          <p:nvPr/>
        </p:nvGrpSpPr>
        <p:grpSpPr>
          <a:xfrm>
            <a:off x="2347913" y="1617737"/>
            <a:ext cx="5194176" cy="2963391"/>
            <a:chOff x="2347913" y="1484784"/>
            <a:chExt cx="5194176" cy="2963391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2347913" y="1828424"/>
              <a:ext cx="5157134" cy="37047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a-DK" altLang="da-DK" sz="1600" dirty="0"/>
                <a:t>                      </a:t>
              </a:r>
              <a:r>
                <a:rPr lang="da-DK" altLang="da-DK" sz="1600" dirty="0" smtClean="0"/>
                <a:t>A</a:t>
              </a:r>
              <a:r>
                <a:rPr lang="da-DK" sz="1600" dirty="0" smtClean="0"/>
                <a:t>ctivity</a:t>
              </a:r>
              <a:r>
                <a:rPr lang="da-DK" altLang="da-DK" sz="1600" dirty="0" smtClean="0"/>
                <a:t> </a:t>
              </a:r>
              <a:r>
                <a:rPr lang="da-DK" altLang="da-DK" sz="1600" dirty="0"/>
                <a:t>A</a:t>
              </a:r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6673650" y="1828424"/>
              <a:ext cx="835513" cy="3704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5817557" y="1828424"/>
              <a:ext cx="860208" cy="3704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2360260" y="2428233"/>
              <a:ext cx="3856532" cy="37047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a-DK" altLang="da-DK" sz="1600" dirty="0"/>
                <a:t>     </a:t>
              </a:r>
              <a:r>
                <a:rPr lang="da-DK" altLang="da-DK" sz="1600" dirty="0" smtClean="0"/>
                <a:t>A</a:t>
              </a:r>
              <a:r>
                <a:rPr lang="da-DK" sz="1600" dirty="0" smtClean="0"/>
                <a:t>ctivity</a:t>
              </a:r>
              <a:r>
                <a:rPr lang="da-DK" altLang="da-DK" sz="1600" dirty="0" smtClean="0"/>
                <a:t> </a:t>
              </a:r>
              <a:r>
                <a:rPr lang="da-DK" altLang="da-DK" sz="1600" dirty="0"/>
                <a:t>B             </a:t>
              </a:r>
              <a:r>
                <a:rPr lang="da-DK" altLang="da-DK" sz="1600" dirty="0" smtClean="0"/>
                <a:t>A</a:t>
              </a:r>
              <a:r>
                <a:rPr lang="da-DK" sz="1600" dirty="0" smtClean="0"/>
                <a:t>ctivity</a:t>
              </a:r>
              <a:r>
                <a:rPr lang="da-DK" altLang="da-DK" sz="1600" dirty="0" smtClean="0"/>
                <a:t> </a:t>
              </a:r>
              <a:r>
                <a:rPr lang="da-DK" altLang="da-DK" sz="1600" dirty="0"/>
                <a:t>C</a:t>
              </a: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2360260" y="3063324"/>
              <a:ext cx="4021165" cy="37047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a-DK" altLang="da-DK" sz="1600" dirty="0"/>
                <a:t>     </a:t>
              </a:r>
              <a:r>
                <a:rPr lang="da-DK" altLang="da-DK" sz="1600" dirty="0" smtClean="0"/>
                <a:t>A</a:t>
              </a:r>
              <a:r>
                <a:rPr lang="da-DK" sz="1600" dirty="0" smtClean="0"/>
                <a:t>ctivity</a:t>
              </a:r>
              <a:r>
                <a:rPr lang="da-DK" altLang="da-DK" sz="1600" dirty="0" smtClean="0"/>
                <a:t> </a:t>
              </a:r>
              <a:r>
                <a:rPr lang="da-DK" altLang="da-DK" sz="1600" dirty="0"/>
                <a:t>B                D                   E</a:t>
              </a:r>
            </a:p>
          </p:txBody>
        </p:sp>
        <p:sp>
          <p:nvSpPr>
            <p:cNvPr id="11" name="Rectangle 10"/>
            <p:cNvSpPr>
              <a:spLocks noChangeArrowheads="1"/>
            </p:cNvSpPr>
            <p:nvPr/>
          </p:nvSpPr>
          <p:spPr bwMode="auto">
            <a:xfrm>
              <a:off x="6644839" y="2428233"/>
              <a:ext cx="543289" cy="3704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6122129" y="2428233"/>
              <a:ext cx="537116" cy="3704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6667476" y="3063324"/>
              <a:ext cx="339556" cy="3704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6319688" y="3063324"/>
              <a:ext cx="345730" cy="3704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2360260" y="3680773"/>
              <a:ext cx="4119945" cy="37047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a-DK" altLang="da-DK" sz="1600" dirty="0"/>
                <a:t>     </a:t>
              </a:r>
              <a:r>
                <a:rPr lang="da-DK" altLang="da-DK" sz="1600" dirty="0" smtClean="0"/>
                <a:t>A</a:t>
              </a:r>
              <a:r>
                <a:rPr lang="da-DK" sz="1600" dirty="0" smtClean="0"/>
                <a:t>ctivity</a:t>
              </a:r>
              <a:r>
                <a:rPr lang="da-DK" altLang="da-DK" sz="1600" dirty="0" smtClean="0"/>
                <a:t> </a:t>
              </a:r>
              <a:r>
                <a:rPr lang="da-DK" altLang="da-DK" sz="1600" dirty="0"/>
                <a:t>B            F        G            E </a:t>
              </a:r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6665418" y="3680773"/>
              <a:ext cx="193444" cy="3704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6467858" y="3680773"/>
              <a:ext cx="197560" cy="37047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3998361" y="2428233"/>
              <a:ext cx="160517" cy="3704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5595302" y="2428233"/>
              <a:ext cx="539174" cy="3704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6220909" y="3063324"/>
              <a:ext cx="111127" cy="3704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21" name="Rectangle 20"/>
            <p:cNvSpPr>
              <a:spLocks noChangeArrowheads="1"/>
            </p:cNvSpPr>
            <p:nvPr/>
          </p:nvSpPr>
          <p:spPr bwMode="auto">
            <a:xfrm>
              <a:off x="4006592" y="3063324"/>
              <a:ext cx="160517" cy="3704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>
              <a:off x="5043781" y="3063324"/>
              <a:ext cx="259297" cy="370470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4006592" y="3680773"/>
              <a:ext cx="160517" cy="3704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24" name="Rectangle 23"/>
            <p:cNvSpPr>
              <a:spLocks noChangeArrowheads="1"/>
            </p:cNvSpPr>
            <p:nvPr/>
          </p:nvSpPr>
          <p:spPr bwMode="auto">
            <a:xfrm>
              <a:off x="6352615" y="3680773"/>
              <a:ext cx="111127" cy="370470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5274268" y="3680773"/>
              <a:ext cx="78201" cy="3704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26" name="Rectangle 25"/>
            <p:cNvSpPr>
              <a:spLocks noChangeArrowheads="1"/>
            </p:cNvSpPr>
            <p:nvPr/>
          </p:nvSpPr>
          <p:spPr bwMode="auto">
            <a:xfrm>
              <a:off x="4566345" y="3680773"/>
              <a:ext cx="61737" cy="3704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4945001" y="3063324"/>
              <a:ext cx="358077" cy="3704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  <p:sp>
          <p:nvSpPr>
            <p:cNvPr id="28" name="Arc 27"/>
            <p:cNvSpPr>
              <a:spLocks/>
            </p:cNvSpPr>
            <p:nvPr/>
          </p:nvSpPr>
          <p:spPr bwMode="auto">
            <a:xfrm flipH="1">
              <a:off x="6850630" y="1828424"/>
              <a:ext cx="691459" cy="261093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0" y="0"/>
                    <a:pt x="21587" y="9657"/>
                    <a:pt x="21599" y="21578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0" y="0"/>
                    <a:pt x="21587" y="9657"/>
                    <a:pt x="21599" y="21578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9" name="Arc 28"/>
            <p:cNvSpPr>
              <a:spLocks/>
            </p:cNvSpPr>
            <p:nvPr/>
          </p:nvSpPr>
          <p:spPr bwMode="auto">
            <a:xfrm>
              <a:off x="5780515" y="1837245"/>
              <a:ext cx="724386" cy="2610930"/>
            </a:xfrm>
            <a:custGeom>
              <a:avLst/>
              <a:gdLst>
                <a:gd name="T0" fmla="*/ 0 w 21599"/>
                <a:gd name="T1" fmla="*/ 0 h 21600"/>
                <a:gd name="T2" fmla="*/ 0 w 21599"/>
                <a:gd name="T3" fmla="*/ 0 h 21600"/>
                <a:gd name="T4" fmla="*/ 0 w 21599"/>
                <a:gd name="T5" fmla="*/ 0 h 21600"/>
                <a:gd name="T6" fmla="*/ 0 60000 65536"/>
                <a:gd name="T7" fmla="*/ 0 60000 65536"/>
                <a:gd name="T8" fmla="*/ 0 60000 65536"/>
                <a:gd name="T9" fmla="*/ 0 w 21599"/>
                <a:gd name="T10" fmla="*/ 0 h 21600"/>
                <a:gd name="T11" fmla="*/ 21599 w 21599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599" h="21600" fill="none" extrusionOk="0">
                  <a:moveTo>
                    <a:pt x="-1" y="0"/>
                  </a:moveTo>
                  <a:cubicBezTo>
                    <a:pt x="11860" y="0"/>
                    <a:pt x="21502" y="9563"/>
                    <a:pt x="21599" y="21422"/>
                  </a:cubicBezTo>
                </a:path>
                <a:path w="21599" h="21600" stroke="0" extrusionOk="0">
                  <a:moveTo>
                    <a:pt x="-1" y="0"/>
                  </a:moveTo>
                  <a:cubicBezTo>
                    <a:pt x="11860" y="0"/>
                    <a:pt x="21502" y="9563"/>
                    <a:pt x="21599" y="21422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" name="Text Box 29"/>
            <p:cNvSpPr txBox="1">
              <a:spLocks noChangeArrowheads="1"/>
            </p:cNvSpPr>
            <p:nvPr/>
          </p:nvSpPr>
          <p:spPr bwMode="auto">
            <a:xfrm>
              <a:off x="3080792" y="1484784"/>
              <a:ext cx="157018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a-DK" altLang="da-DK" sz="1600" dirty="0"/>
                <a:t>     </a:t>
              </a:r>
              <a:r>
                <a:rPr lang="da-DK" altLang="da-DK" sz="1600" dirty="0" err="1" smtClean="0"/>
                <a:t>A</a:t>
              </a:r>
              <a:r>
                <a:rPr lang="da-DK" sz="1600" dirty="0" err="1" smtClean="0"/>
                <a:t>ctivities</a:t>
              </a:r>
              <a:endParaRPr lang="da-DK" altLang="da-DK" sz="1600" dirty="0"/>
            </a:p>
          </p:txBody>
        </p:sp>
        <p:sp>
          <p:nvSpPr>
            <p:cNvPr id="31" name="Text Box 30"/>
            <p:cNvSpPr txBox="1">
              <a:spLocks noChangeArrowheads="1"/>
            </p:cNvSpPr>
            <p:nvPr/>
          </p:nvSpPr>
          <p:spPr bwMode="auto">
            <a:xfrm>
              <a:off x="4880992" y="1484784"/>
              <a:ext cx="266109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da-DK" altLang="da-DK" sz="1600" dirty="0"/>
                <a:t> </a:t>
              </a:r>
              <a:r>
                <a:rPr lang="da-DK" altLang="da-DK" sz="1600" dirty="0" err="1" smtClean="0"/>
                <a:t>Spread</a:t>
              </a:r>
              <a:r>
                <a:rPr lang="da-DK" altLang="da-DK" sz="1600" dirty="0" smtClean="0"/>
                <a:t>       2 x </a:t>
              </a:r>
              <a:r>
                <a:rPr lang="da-DK" altLang="da-DK" sz="1600" dirty="0" err="1" smtClean="0"/>
                <a:t>S</a:t>
              </a:r>
              <a:r>
                <a:rPr lang="da-DK" sz="1600" dirty="0" err="1" smtClean="0"/>
                <a:t>pread</a:t>
              </a:r>
              <a:endParaRPr lang="da-DK" altLang="da-DK" sz="1600" dirty="0"/>
            </a:p>
          </p:txBody>
        </p:sp>
        <p:sp>
          <p:nvSpPr>
            <p:cNvPr id="32" name="Line 31"/>
            <p:cNvSpPr>
              <a:spLocks noChangeShapeType="1"/>
            </p:cNvSpPr>
            <p:nvPr/>
          </p:nvSpPr>
          <p:spPr bwMode="auto">
            <a:xfrm>
              <a:off x="3187542" y="2203304"/>
              <a:ext cx="0" cy="22933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>
              <a:off x="4825642" y="2203304"/>
              <a:ext cx="0" cy="22933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>
              <a:off x="4578693" y="2803113"/>
              <a:ext cx="0" cy="26462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>
              <a:off x="5443017" y="2803113"/>
              <a:ext cx="0" cy="26462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>
              <a:off x="4364669" y="3438204"/>
              <a:ext cx="0" cy="24257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Line 36"/>
            <p:cNvSpPr>
              <a:spLocks noChangeShapeType="1"/>
            </p:cNvSpPr>
            <p:nvPr/>
          </p:nvSpPr>
          <p:spPr bwMode="auto">
            <a:xfrm>
              <a:off x="4784484" y="3438204"/>
              <a:ext cx="0" cy="24257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Rectangle 37"/>
            <p:cNvSpPr>
              <a:spLocks noChangeArrowheads="1"/>
            </p:cNvSpPr>
            <p:nvPr/>
          </p:nvSpPr>
          <p:spPr bwMode="auto">
            <a:xfrm>
              <a:off x="5035550" y="1828424"/>
              <a:ext cx="786123" cy="37047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da-DK" sz="1600"/>
            </a:p>
          </p:txBody>
        </p:sp>
      </p:grpSp>
    </p:spTree>
    <p:extLst>
      <p:ext uri="{BB962C8B-B14F-4D97-AF65-F5344CB8AC3E}">
        <p14:creationId xmlns:p14="http://schemas.microsoft.com/office/powerpoint/2010/main" val="2057178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6</Words>
  <Application>Microsoft Office PowerPoint</Application>
  <PresentationFormat>A4 (210 x 297 mm)</PresentationFormat>
  <Paragraphs>6</Paragraphs>
  <Slides>1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PowerPoint-præsentation</vt:lpstr>
    </vt:vector>
  </TitlesOfParts>
  <Company>Implement Consulting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Ryding Olsson - Implement Consulting Group</dc:creator>
  <cp:lastModifiedBy>Thomas Lottrup</cp:lastModifiedBy>
  <cp:revision>6</cp:revision>
  <dcterms:created xsi:type="dcterms:W3CDTF">2014-11-19T09:32:53Z</dcterms:created>
  <dcterms:modified xsi:type="dcterms:W3CDTF">2015-07-01T10:38:36Z</dcterms:modified>
</cp:coreProperties>
</file>